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media/image10.jpg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2"/>
  </p:notesMasterIdLst>
  <p:handoutMasterIdLst>
    <p:handoutMasterId r:id="rId13"/>
  </p:handoutMasterIdLst>
  <p:sldIdLst>
    <p:sldId id="379" r:id="rId2"/>
    <p:sldId id="380" r:id="rId3"/>
    <p:sldId id="387" r:id="rId4"/>
    <p:sldId id="388" r:id="rId5"/>
    <p:sldId id="389" r:id="rId6"/>
    <p:sldId id="390" r:id="rId7"/>
    <p:sldId id="391" r:id="rId8"/>
    <p:sldId id="394" r:id="rId9"/>
    <p:sldId id="392" r:id="rId10"/>
    <p:sldId id="393" r:id="rId11"/>
  </p:sldIdLst>
  <p:sldSz cx="9144000" cy="6858000" type="screen4x3"/>
  <p:notesSz cx="7099300" cy="10234613"/>
  <p:custDataLst>
    <p:tags r:id="rId1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78" autoAdjust="0"/>
    <p:restoredTop sz="96347" autoAdjust="0"/>
  </p:normalViewPr>
  <p:slideViewPr>
    <p:cSldViewPr snapToGrid="0" snapToObjects="1" showGuides="1">
      <p:cViewPr varScale="1">
        <p:scale>
          <a:sx n="163" d="100"/>
          <a:sy n="163" d="100"/>
        </p:scale>
        <p:origin x="1104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tags" Target="tags/tag1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8.01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7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8.01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8.01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smtClean="0">
                <a:solidFill>
                  <a:schemeClr val="tx1"/>
                </a:solidFill>
              </a:rPr>
              <a:t>IoT-</a:t>
            </a: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Team </a:t>
            </a:r>
            <a:r>
              <a:rPr lang="de-DE" sz="3200" dirty="0" err="1" smtClean="0">
                <a:solidFill>
                  <a:schemeClr val="tx1"/>
                </a:solidFill>
              </a:rPr>
              <a:t>Beacon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err="1" smtClean="0"/>
              <a:t>Lecture„IoT</a:t>
            </a:r>
            <a:r>
              <a:rPr lang="de-DE" dirty="0" smtClean="0"/>
              <a:t>“, 18.01.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675" y="737597"/>
            <a:ext cx="4295230" cy="532408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5431692" y="4196863"/>
            <a:ext cx="836247" cy="6252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 rot="21422253">
            <a:off x="3509108" y="2157041"/>
            <a:ext cx="2758831" cy="43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 err="1" smtClean="0">
                <a:latin typeface="Comic Sans MS" charset="0"/>
                <a:ea typeface="Comic Sans MS" charset="0"/>
                <a:cs typeface="Comic Sans MS" charset="0"/>
              </a:rPr>
              <a:t>Thanks</a:t>
            </a:r>
            <a:r>
              <a:rPr lang="de-DE" sz="5400" dirty="0">
                <a:latin typeface="Comic Sans MS" charset="0"/>
                <a:ea typeface="Comic Sans MS" charset="0"/>
                <a:cs typeface="Comic Sans MS" charset="0"/>
              </a:rPr>
              <a:t>!</a:t>
            </a:r>
            <a:endParaRPr lang="de-DE" sz="5400" dirty="0">
              <a:latin typeface="Comic Sans MS" charset="0"/>
              <a:ea typeface="Comic Sans MS" charset="0"/>
              <a:cs typeface="Comic Sans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85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49" y="454024"/>
            <a:ext cx="7994769" cy="5230533"/>
          </a:xfr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ct </a:t>
            </a:r>
            <a:r>
              <a:rPr lang="de-DE" dirty="0" err="1" smtClean="0"/>
              <a:t>go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400" dirty="0" smtClean="0"/>
              <a:t>Design a </a:t>
            </a:r>
            <a:r>
              <a:rPr lang="de-DE" sz="2400" dirty="0" err="1" smtClean="0"/>
              <a:t>service</a:t>
            </a:r>
            <a:r>
              <a:rPr lang="de-DE" sz="2400" dirty="0" smtClean="0"/>
              <a:t> </a:t>
            </a:r>
            <a:r>
              <a:rPr lang="de-DE" sz="2400" dirty="0" err="1" smtClean="0"/>
              <a:t>utilizing</a:t>
            </a:r>
            <a:r>
              <a:rPr lang="de-DE" sz="2400" dirty="0" smtClean="0"/>
              <a:t> </a:t>
            </a:r>
            <a:r>
              <a:rPr lang="de-DE" sz="2400" dirty="0" err="1" smtClean="0"/>
              <a:t>beacon</a:t>
            </a:r>
            <a:r>
              <a:rPr lang="de-DE" sz="2400" dirty="0" smtClean="0"/>
              <a:t> </a:t>
            </a:r>
            <a:r>
              <a:rPr lang="de-DE" sz="2400" dirty="0" err="1" smtClean="0"/>
              <a:t>technology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a </a:t>
            </a:r>
            <a:r>
              <a:rPr lang="de-DE" sz="2400" dirty="0" err="1" smtClean="0"/>
              <a:t>value</a:t>
            </a:r>
            <a:r>
              <a:rPr lang="de-DE" sz="2400" dirty="0" smtClean="0"/>
              <a:t> </a:t>
            </a:r>
            <a:r>
              <a:rPr lang="de-DE" sz="2400" dirty="0" err="1" smtClean="0"/>
              <a:t>proposition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student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lecturers</a:t>
            </a:r>
            <a:r>
              <a:rPr lang="de-DE" sz="2400" dirty="0" smtClean="0"/>
              <a:t>.</a:t>
            </a:r>
            <a:endParaRPr lang="de-DE" sz="2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rvice desig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825625"/>
            <a:ext cx="8147360" cy="4351338"/>
          </a:xfrm>
        </p:spPr>
        <p:txBody>
          <a:bodyPr/>
          <a:lstStyle/>
          <a:p>
            <a:r>
              <a:rPr lang="de-DE" sz="2400" dirty="0" smtClean="0"/>
              <a:t>Sensor </a:t>
            </a:r>
            <a:r>
              <a:rPr lang="de-DE" sz="2400" dirty="0" err="1" smtClean="0"/>
              <a:t>network</a:t>
            </a:r>
            <a:r>
              <a:rPr lang="de-DE" sz="2400" dirty="0"/>
              <a:t> </a:t>
            </a:r>
            <a:r>
              <a:rPr lang="de-DE" sz="2400" dirty="0" err="1" smtClean="0"/>
              <a:t>as</a:t>
            </a:r>
            <a:r>
              <a:rPr lang="de-DE" sz="2400" dirty="0" smtClean="0"/>
              <a:t> </a:t>
            </a:r>
            <a:r>
              <a:rPr lang="de-DE" sz="2400" dirty="0" err="1" smtClean="0"/>
              <a:t>part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an IoT-</a:t>
            </a:r>
            <a:r>
              <a:rPr lang="de-DE" sz="2400" dirty="0" err="1" smtClean="0"/>
              <a:t>Architecture</a:t>
            </a:r>
            <a:endParaRPr lang="de-DE" sz="2400" dirty="0" smtClean="0"/>
          </a:p>
          <a:p>
            <a:r>
              <a:rPr lang="de-DE" sz="2400" dirty="0" err="1" smtClean="0"/>
              <a:t>Measure</a:t>
            </a:r>
            <a:r>
              <a:rPr lang="de-DE" sz="2400" dirty="0" smtClean="0"/>
              <a:t> </a:t>
            </a:r>
            <a:r>
              <a:rPr lang="de-DE" sz="2400" dirty="0" err="1" smtClean="0"/>
              <a:t>climate</a:t>
            </a:r>
            <a:r>
              <a:rPr lang="de-DE" sz="2400" dirty="0" smtClean="0"/>
              <a:t> </a:t>
            </a:r>
            <a:r>
              <a:rPr lang="de-DE" sz="2400" dirty="0" err="1" smtClean="0"/>
              <a:t>conditions</a:t>
            </a:r>
            <a:r>
              <a:rPr lang="de-DE" sz="2400" dirty="0" smtClean="0"/>
              <a:t> (e.g. </a:t>
            </a:r>
            <a:r>
              <a:rPr lang="de-DE" sz="2400" dirty="0" err="1" smtClean="0"/>
              <a:t>temperature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humidity</a:t>
            </a:r>
            <a:r>
              <a:rPr lang="de-DE" sz="2400" dirty="0" smtClean="0"/>
              <a:t>)</a:t>
            </a:r>
          </a:p>
          <a:p>
            <a:r>
              <a:rPr lang="de-DE" sz="2400" dirty="0" err="1" smtClean="0"/>
              <a:t>Beacon</a:t>
            </a:r>
            <a:r>
              <a:rPr lang="de-DE" sz="2400" dirty="0" smtClean="0"/>
              <a:t> </a:t>
            </a:r>
            <a:r>
              <a:rPr lang="de-DE" sz="2400" dirty="0" err="1" smtClean="0"/>
              <a:t>provides</a:t>
            </a:r>
            <a:r>
              <a:rPr lang="de-DE" sz="2400" dirty="0" smtClean="0"/>
              <a:t> </a:t>
            </a:r>
            <a:r>
              <a:rPr lang="de-DE" sz="2400" dirty="0" err="1" smtClean="0"/>
              <a:t>Eddystone</a:t>
            </a:r>
            <a:r>
              <a:rPr lang="de-DE" sz="2400" dirty="0" smtClean="0"/>
              <a:t> URL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access</a:t>
            </a:r>
            <a:r>
              <a:rPr lang="de-DE" sz="2400" dirty="0" smtClean="0"/>
              <a:t> web UI</a:t>
            </a:r>
          </a:p>
          <a:p>
            <a:endParaRPr lang="de-DE" sz="2400" dirty="0"/>
          </a:p>
          <a:p>
            <a:r>
              <a:rPr lang="de-DE" sz="2400" dirty="0" smtClean="0"/>
              <a:t>Implementation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b="1" dirty="0" smtClean="0"/>
              <a:t>MVP</a:t>
            </a:r>
            <a:r>
              <a:rPr lang="de-DE" sz="2400" dirty="0" smtClean="0"/>
              <a:t> in </a:t>
            </a:r>
            <a:r>
              <a:rPr lang="de-DE" sz="2400" dirty="0" err="1" smtClean="0"/>
              <a:t>room</a:t>
            </a:r>
            <a:r>
              <a:rPr lang="de-DE" sz="2400" dirty="0" smtClean="0"/>
              <a:t> 125</a:t>
            </a:r>
          </a:p>
          <a:p>
            <a:endParaRPr lang="de-DE" sz="2400" i="1" dirty="0"/>
          </a:p>
          <a:p>
            <a:pPr marL="0" indent="0">
              <a:buNone/>
            </a:pPr>
            <a:endParaRPr lang="de-DE" sz="2400" i="1" dirty="0" smtClean="0"/>
          </a:p>
          <a:p>
            <a:pPr marL="0" indent="0">
              <a:buNone/>
            </a:pPr>
            <a:r>
              <a:rPr lang="de-DE" sz="2400" i="1" dirty="0" smtClean="0"/>
              <a:t>„</a:t>
            </a:r>
            <a:r>
              <a:rPr lang="de-DE" sz="2400" i="1" dirty="0" err="1" smtClean="0"/>
              <a:t>Get</a:t>
            </a:r>
            <a:r>
              <a:rPr lang="de-DE" sz="2400" i="1" dirty="0" smtClean="0"/>
              <a:t> an </a:t>
            </a:r>
            <a:r>
              <a:rPr lang="de-DE" sz="2400" i="1" dirty="0" err="1" smtClean="0"/>
              <a:t>app</a:t>
            </a:r>
            <a:r>
              <a:rPr lang="de-DE" sz="2400" i="1" dirty="0" smtClean="0"/>
              <a:t>, </a:t>
            </a:r>
            <a:r>
              <a:rPr lang="de-DE" sz="2400" i="1" dirty="0" err="1" smtClean="0"/>
              <a:t>fetch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the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beacon</a:t>
            </a:r>
            <a:r>
              <a:rPr lang="de-DE" sz="2400" i="1" dirty="0" smtClean="0"/>
              <a:t> URL </a:t>
            </a:r>
            <a:r>
              <a:rPr lang="de-DE" sz="2400" i="1" dirty="0" err="1" smtClean="0"/>
              <a:t>and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access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sensor</a:t>
            </a:r>
            <a:r>
              <a:rPr lang="de-DE" sz="2400" i="1" dirty="0" smtClean="0"/>
              <a:t> </a:t>
            </a:r>
            <a:r>
              <a:rPr lang="de-DE" sz="2400" i="1" dirty="0" err="1" smtClean="0"/>
              <a:t>data</a:t>
            </a:r>
            <a:r>
              <a:rPr lang="de-DE" sz="2400" i="1" dirty="0" smtClean="0"/>
              <a:t>.“</a:t>
            </a:r>
            <a:endParaRPr lang="de-DE" sz="2400" i="1" dirty="0" smtClean="0"/>
          </a:p>
          <a:p>
            <a:endParaRPr lang="de-DE" sz="240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8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8119" y="639461"/>
            <a:ext cx="5799438" cy="5164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36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" y="1540855"/>
            <a:ext cx="9144000" cy="491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984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2274278" y="4437690"/>
            <a:ext cx="5759969" cy="439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400" dirty="0" err="1" smtClean="0">
                <a:latin typeface="Comic Sans MS" charset="0"/>
                <a:ea typeface="Comic Sans MS" charset="0"/>
                <a:cs typeface="Comic Sans MS" charset="0"/>
              </a:rPr>
              <a:t>bit.ly</a:t>
            </a:r>
            <a:r>
              <a:rPr lang="de-DE" sz="5400" dirty="0" smtClean="0">
                <a:latin typeface="Comic Sans MS" charset="0"/>
                <a:ea typeface="Comic Sans MS" charset="0"/>
                <a:cs typeface="Comic Sans MS" charset="0"/>
              </a:rPr>
              <a:t>/2jYiL5v</a:t>
            </a:r>
            <a:endParaRPr lang="de-DE" sz="5400" dirty="0">
              <a:latin typeface="Comic Sans MS" charset="0"/>
              <a:ea typeface="Comic Sans MS" charset="0"/>
              <a:cs typeface="Comic Sans MS" charset="0"/>
            </a:endParaRP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662" y="749639"/>
            <a:ext cx="8706338" cy="5745478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045" y="1849462"/>
            <a:ext cx="2049585" cy="2049585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846" y="2064725"/>
            <a:ext cx="1352061" cy="160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ee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self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820" y="1127980"/>
            <a:ext cx="4367406" cy="494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92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Desig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56" b="10621"/>
          <a:stretch/>
        </p:blipFill>
        <p:spPr>
          <a:xfrm>
            <a:off x="480795" y="1605776"/>
            <a:ext cx="8182409" cy="394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481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5</Words>
  <Application>Microsoft Macintosh PowerPoint</Application>
  <PresentationFormat>Bildschirmpräsentation (4:3)</PresentationFormat>
  <Paragraphs>30</Paragraphs>
  <Slides>1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Calibri</vt:lpstr>
      <vt:lpstr>Comic Sans MS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IoT-Hackathon 2017  Team Beacon</vt:lpstr>
      <vt:lpstr>PowerPoint-Präsentation</vt:lpstr>
      <vt:lpstr>Project goal</vt:lpstr>
      <vt:lpstr>Service design</vt:lpstr>
      <vt:lpstr>Architecture</vt:lpstr>
      <vt:lpstr>Architecture</vt:lpstr>
      <vt:lpstr>See it for yourself</vt:lpstr>
      <vt:lpstr>See it for yourself</vt:lpstr>
      <vt:lpstr>Value Proposition Design</vt:lpstr>
      <vt:lpstr>PowerPoint-Präsentation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Kinitzki Martin</cp:lastModifiedBy>
  <cp:revision>102</cp:revision>
  <cp:lastPrinted>2012-09-04T09:22:48Z</cp:lastPrinted>
  <dcterms:created xsi:type="dcterms:W3CDTF">2011-07-07T11:12:14Z</dcterms:created>
  <dcterms:modified xsi:type="dcterms:W3CDTF">2017-01-18T14:0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